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sldIdLst>
    <p:sldId id="271" r:id="rId2"/>
    <p:sldId id="262" r:id="rId3"/>
    <p:sldId id="268" r:id="rId4"/>
    <p:sldId id="269" r:id="rId5"/>
    <p:sldId id="258" r:id="rId6"/>
    <p:sldId id="259" r:id="rId7"/>
    <p:sldId id="260" r:id="rId8"/>
    <p:sldId id="261" r:id="rId9"/>
    <p:sldId id="263" r:id="rId10"/>
    <p:sldId id="267" r:id="rId11"/>
    <p:sldId id="264" r:id="rId12"/>
    <p:sldId id="265" r:id="rId13"/>
    <p:sldId id="266" r:id="rId14"/>
  </p:sldIdLst>
  <p:sldSz cx="12192000" cy="6858000"/>
  <p:notesSz cx="6858000" cy="9144000"/>
  <p:embeddedFontLst>
    <p:embeddedFont>
      <p:font typeface="Ubuntu" panose="020B0504030602030204" pitchFamily="34" charset="0"/>
      <p:regular r:id="rId15"/>
      <p:bold r:id="rId16"/>
      <p:italic r:id="rId17"/>
      <p:boldItalic r:id="rId1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ORK HERE" id="{8C4E0D34-5777-43D6-983C-E73B3F8739FF}">
          <p14:sldIdLst>
            <p14:sldId id="271"/>
          </p14:sldIdLst>
        </p14:section>
        <p14:section name="PROJECT - Good" id="{9A106D3B-2FC9-48B1-B15F-BB7056DCE3B6}">
          <p14:sldIdLst>
            <p14:sldId id="262"/>
            <p14:sldId id="268"/>
            <p14:sldId id="269"/>
          </p14:sldIdLst>
        </p14:section>
        <p14:section name="Navigation - Pro" id="{225E62B7-F482-435B-889E-7082E15C09D0}">
          <p14:sldIdLst>
            <p14:sldId id="258"/>
            <p14:sldId id="259"/>
            <p14:sldId id="260"/>
            <p14:sldId id="261"/>
          </p14:sldIdLst>
        </p14:section>
        <p14:section name="Navigation - Elite" id="{05DCD445-B531-4E60-824A-6DA7754C61A1}">
          <p14:sldIdLst>
            <p14:sldId id="263"/>
            <p14:sldId id="267"/>
            <p14:sldId id="264"/>
            <p14:sldId id="265"/>
            <p14:sldId id="26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28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998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customXml" Target="../customXml/item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4E63C-9132-1815-23EE-525A9047B2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0CFFCB-EE51-30B1-7FAF-7F0AAE4EE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BF334A-A1D2-86D9-765C-7D276E07F4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2/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73A976-3E72-F49E-A243-7367C098F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7F4A9E-F7B8-E7AE-7849-5A4D4A48B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129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7BFF64-C3A1-E05F-6648-9E3789EAC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3617B1-94FA-2068-81D0-F6F87D121D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4B6581-78AA-A4C3-4920-B0D8F1CE93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2/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9F47B6-212D-4D8C-99E6-7BE607CF2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A4FA57-FAD6-6901-3B6F-AEA41D902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3481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F0C7F6B-397A-64DD-15AB-1047636944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97728EA-395D-B8DF-7FAE-640B33BB56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393F05-2B1C-BF33-02BC-F17F89AD3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2/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42C03-5827-9FF2-6C01-4A7262236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89191-64AE-D809-F9D5-6D3DB7F03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02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197FC0-9C6F-8CB4-0A29-582BB38E9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BD9D79-7C47-EC9E-97C2-9AF5B67BE2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7D39A4-69DD-D72C-C619-0101B1B4AC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2/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F6900C-E5B7-1463-E8BC-B3E3EDC1F6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210292-07D7-B8CB-EF8A-8F153CE37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8182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CE2096-6E77-A279-96D7-8EA69B1A9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7CE332-206E-B3B0-02C9-E0FA08B3A9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363899-ED22-0C61-8452-452222B1B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2/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C79427-9192-3919-8D05-5242B3023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871D57-B55B-0138-FE8A-C798EB26E0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17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1159EE-93EE-9753-84CF-79B69DB23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FE4910-1A4A-558C-B998-FFE66ADC4F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CDC5BD-0613-3D0A-66EE-3CE74D1DAE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E3E841-9035-1D6B-3981-7CCF9620E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2/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DA145-6FDB-9DD3-C220-110B2871B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D3068F-C669-D66A-FCA1-5E6CD3BC6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8630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449EA-7AE8-463B-E6F5-A1FCFAD10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A7977D-E0E9-32BF-CFC4-510DEBB72F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FC3AEC-E6DC-EE7F-94A1-A07D5FEA80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8D18E1-42A9-B0CC-7B02-68514505FF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BA0287-81CA-CB26-421E-C931CE38A5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B7E5C6A-5080-D986-9AC7-34EC8261D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2/1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B79D19D-4D66-22A4-34ED-0314CAAE5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118CBD0-DC00-82AB-9C12-69ED17F34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585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68C4E2-957A-E472-11EC-5CE1ED237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54DCA3-EFA5-AB6D-6E2E-993A6FB3BB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2/1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1E1F6F-DB9E-B507-C33E-321E14E9C3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3EDA1B-76FC-90D9-C0BE-C63019060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6024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A8B139-9530-5503-7426-988E63A85D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2/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AE6B5-CA4B-B648-BA31-7C2AC0C55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B5D82A-9D5A-5EFD-B8E6-F5F48ABB7F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4946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571E7-25FF-2A73-C5BF-0E7358069A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253251-0F7D-B046-ADD2-B76170BD63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FA33E-6A07-A939-A1E2-E0722CC11B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917EB2-9331-8FB2-EE6A-7B04EE4263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2/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FBA39A-79BE-C6DA-7BB8-F3D15D760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B73952-2391-6DD9-4E74-6262FF597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4524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088BAB-1F1C-8082-2F78-9CE4C2FD2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114338F-64F9-20E5-46B3-38CB9085CCA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438F4-F649-2616-7801-53E19EAC6A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B4E86F-1EE7-813F-2C15-DF4FC4B4F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9B71F-F1F1-4CF8-BB4C-CA506C353124}" type="datetimeFigureOut">
              <a:rPr lang="en-US" smtClean="0"/>
              <a:t>2/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73CC86-3281-400E-FAD1-F342DEE23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156CA4-3CA0-8D3C-06A7-24F3B71A7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0170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0F30A1C-53C4-DBD5-BB7B-B3AE840C4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6F7F22-0360-6B82-473E-B668E541B6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D772EF-1DEF-E9C5-7C30-BCED96A87A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69B71F-F1F1-4CF8-BB4C-CA506C353124}" type="datetimeFigureOut">
              <a:rPr lang="en-US" smtClean="0"/>
              <a:t>2/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072C66-FBB0-099D-62C0-10A72A8F09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C45F74-3619-6D98-DAAE-8287CCCF42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7A38EC-CD12-42FE-BD4D-5A0BEC4F7C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87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C39888-4E6A-890D-075C-A281D402D73F}"/>
              </a:ext>
            </a:extLst>
          </p:cNvPr>
          <p:cNvSpPr/>
          <p:nvPr/>
        </p:nvSpPr>
        <p:spPr>
          <a:xfrm>
            <a:off x="408972" y="497712"/>
            <a:ext cx="11374055" cy="694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68749FD-31D5-D669-168E-468F24B8C115}"/>
              </a:ext>
            </a:extLst>
          </p:cNvPr>
          <p:cNvSpPr/>
          <p:nvPr/>
        </p:nvSpPr>
        <p:spPr>
          <a:xfrm>
            <a:off x="408972" y="497713"/>
            <a:ext cx="2844000" cy="6944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FEDCFC-5969-72FF-3E87-0E2E8ADCC641}"/>
              </a:ext>
            </a:extLst>
          </p:cNvPr>
          <p:cNvSpPr txBox="1"/>
          <p:nvPr/>
        </p:nvSpPr>
        <p:spPr>
          <a:xfrm>
            <a:off x="1347507" y="642660"/>
            <a:ext cx="9669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1" i="0" u="none" strike="noStrike" kern="1200" cap="none" spc="0" normalizeH="0" baseline="0" noProof="0" dirty="0">
                <a:ln>
                  <a:noFill/>
                </a:ln>
                <a:solidFill>
                  <a:srgbClr val="B8D1D1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1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srgbClr val="B8D1D1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50638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86367D5-5475-0063-29BE-A6C19C41CAE3}"/>
              </a:ext>
            </a:extLst>
          </p:cNvPr>
          <p:cNvSpPr txBox="1"/>
          <p:nvPr/>
        </p:nvSpPr>
        <p:spPr>
          <a:xfrm>
            <a:off x="4272528" y="-983849"/>
            <a:ext cx="9701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2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FEDCFC-5969-72FF-3E87-0E2E8ADCC641}"/>
              </a:ext>
            </a:extLst>
          </p:cNvPr>
          <p:cNvSpPr txBox="1"/>
          <p:nvPr/>
        </p:nvSpPr>
        <p:spPr>
          <a:xfrm>
            <a:off x="1347506" y="567159"/>
            <a:ext cx="9669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1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5" name="Hider">
            <a:extLst>
              <a:ext uri="{FF2B5EF4-FFF2-40B4-BE49-F238E27FC236}">
                <a16:creationId xmlns:a16="http://schemas.microsoft.com/office/drawing/2014/main" id="{F6343F87-D44A-4986-A2E7-2A3A9F3CC9B4}"/>
              </a:ext>
            </a:extLst>
          </p:cNvPr>
          <p:cNvSpPr/>
          <p:nvPr/>
        </p:nvSpPr>
        <p:spPr>
          <a:xfrm>
            <a:off x="0" y="0"/>
            <a:ext cx="12192000" cy="56715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39888-4E6A-890D-075C-A281D402D73F}"/>
              </a:ext>
            </a:extLst>
          </p:cNvPr>
          <p:cNvSpPr/>
          <p:nvPr/>
        </p:nvSpPr>
        <p:spPr>
          <a:xfrm>
            <a:off x="408972" y="497712"/>
            <a:ext cx="11374055" cy="69447"/>
          </a:xfrm>
          <a:prstGeom prst="rect">
            <a:avLst/>
          </a:prstGeom>
          <a:solidFill>
            <a:schemeClr val="accent4">
              <a:alpha val="99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68749FD-31D5-D669-168E-468F24B8C115}"/>
              </a:ext>
            </a:extLst>
          </p:cNvPr>
          <p:cNvSpPr/>
          <p:nvPr/>
        </p:nvSpPr>
        <p:spPr>
          <a:xfrm>
            <a:off x="408972" y="497713"/>
            <a:ext cx="2844000" cy="694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320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70A4E6A-D46B-B0FC-94DB-B672D66FF522}"/>
              </a:ext>
            </a:extLst>
          </p:cNvPr>
          <p:cNvSpPr txBox="1"/>
          <p:nvPr/>
        </p:nvSpPr>
        <p:spPr>
          <a:xfrm>
            <a:off x="7033903" y="-846774"/>
            <a:ext cx="9701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3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E43A68-A99C-EBA8-92A5-776B689C7AD3}"/>
              </a:ext>
            </a:extLst>
          </p:cNvPr>
          <p:cNvSpPr txBox="1"/>
          <p:nvPr/>
        </p:nvSpPr>
        <p:spPr>
          <a:xfrm>
            <a:off x="4272528" y="567159"/>
            <a:ext cx="9701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2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871508-3AF9-B47F-E968-ECA395EC826E}"/>
              </a:ext>
            </a:extLst>
          </p:cNvPr>
          <p:cNvSpPr txBox="1"/>
          <p:nvPr/>
        </p:nvSpPr>
        <p:spPr>
          <a:xfrm>
            <a:off x="1347506" y="-981204"/>
            <a:ext cx="9669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1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3" name="Hider">
            <a:extLst>
              <a:ext uri="{FF2B5EF4-FFF2-40B4-BE49-F238E27FC236}">
                <a16:creationId xmlns:a16="http://schemas.microsoft.com/office/drawing/2014/main" id="{F532E8F0-F1EA-567D-7D04-5F1FAB513767}"/>
              </a:ext>
            </a:extLst>
          </p:cNvPr>
          <p:cNvSpPr/>
          <p:nvPr/>
        </p:nvSpPr>
        <p:spPr>
          <a:xfrm>
            <a:off x="0" y="-57874"/>
            <a:ext cx="12192000" cy="56715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39888-4E6A-890D-075C-A281D402D73F}"/>
              </a:ext>
            </a:extLst>
          </p:cNvPr>
          <p:cNvSpPr/>
          <p:nvPr/>
        </p:nvSpPr>
        <p:spPr>
          <a:xfrm>
            <a:off x="408972" y="497712"/>
            <a:ext cx="11374055" cy="69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9835BA0-B032-3232-C6A8-EF75D4725F75}"/>
              </a:ext>
            </a:extLst>
          </p:cNvPr>
          <p:cNvSpPr/>
          <p:nvPr/>
        </p:nvSpPr>
        <p:spPr>
          <a:xfrm>
            <a:off x="3252972" y="497711"/>
            <a:ext cx="2844000" cy="694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00285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B01FD6AE-3031-E6EB-7809-9B882B9CB4EE}"/>
              </a:ext>
            </a:extLst>
          </p:cNvPr>
          <p:cNvSpPr txBox="1"/>
          <p:nvPr/>
        </p:nvSpPr>
        <p:spPr>
          <a:xfrm>
            <a:off x="4272528" y="-923331"/>
            <a:ext cx="9701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2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1FC028-FCB5-7CED-147A-93043847C87D}"/>
              </a:ext>
            </a:extLst>
          </p:cNvPr>
          <p:cNvSpPr txBox="1"/>
          <p:nvPr/>
        </p:nvSpPr>
        <p:spPr>
          <a:xfrm>
            <a:off x="9875958" y="-889929"/>
            <a:ext cx="9701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4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D7B790-8AFB-1533-872A-E4CEADF01593}"/>
              </a:ext>
            </a:extLst>
          </p:cNvPr>
          <p:cNvSpPr txBox="1"/>
          <p:nvPr/>
        </p:nvSpPr>
        <p:spPr>
          <a:xfrm>
            <a:off x="7033903" y="567159"/>
            <a:ext cx="9701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3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4" name="Hider">
            <a:extLst>
              <a:ext uri="{FF2B5EF4-FFF2-40B4-BE49-F238E27FC236}">
                <a16:creationId xmlns:a16="http://schemas.microsoft.com/office/drawing/2014/main" id="{08958055-D3E2-00AA-4303-0559213F68A3}"/>
              </a:ext>
            </a:extLst>
          </p:cNvPr>
          <p:cNvSpPr/>
          <p:nvPr/>
        </p:nvSpPr>
        <p:spPr>
          <a:xfrm>
            <a:off x="0" y="0"/>
            <a:ext cx="12192000" cy="56715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39888-4E6A-890D-075C-A281D402D73F}"/>
              </a:ext>
            </a:extLst>
          </p:cNvPr>
          <p:cNvSpPr/>
          <p:nvPr/>
        </p:nvSpPr>
        <p:spPr>
          <a:xfrm>
            <a:off x="408972" y="497712"/>
            <a:ext cx="11374055" cy="69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A39F224-0DEF-2FCC-BD2C-2424628FCC19}"/>
              </a:ext>
            </a:extLst>
          </p:cNvPr>
          <p:cNvSpPr/>
          <p:nvPr/>
        </p:nvSpPr>
        <p:spPr>
          <a:xfrm>
            <a:off x="6096972" y="497711"/>
            <a:ext cx="2844000" cy="694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66113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0263F108-A230-4839-63EB-3EB18CBA2947}"/>
              </a:ext>
            </a:extLst>
          </p:cNvPr>
          <p:cNvSpPr txBox="1"/>
          <p:nvPr/>
        </p:nvSpPr>
        <p:spPr>
          <a:xfrm>
            <a:off x="7033903" y="-983851"/>
            <a:ext cx="9701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3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184ED9-1752-B290-9606-18D638413929}"/>
              </a:ext>
            </a:extLst>
          </p:cNvPr>
          <p:cNvSpPr txBox="1"/>
          <p:nvPr/>
        </p:nvSpPr>
        <p:spPr>
          <a:xfrm>
            <a:off x="9875958" y="567159"/>
            <a:ext cx="9701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4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3" name="Hider">
            <a:extLst>
              <a:ext uri="{FF2B5EF4-FFF2-40B4-BE49-F238E27FC236}">
                <a16:creationId xmlns:a16="http://schemas.microsoft.com/office/drawing/2014/main" id="{79D3F67C-4A89-84ED-1EA7-FF38E7B97F65}"/>
              </a:ext>
            </a:extLst>
          </p:cNvPr>
          <p:cNvSpPr/>
          <p:nvPr/>
        </p:nvSpPr>
        <p:spPr>
          <a:xfrm>
            <a:off x="0" y="-23150"/>
            <a:ext cx="12192000" cy="56715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39888-4E6A-890D-075C-A281D402D73F}"/>
              </a:ext>
            </a:extLst>
          </p:cNvPr>
          <p:cNvSpPr/>
          <p:nvPr/>
        </p:nvSpPr>
        <p:spPr>
          <a:xfrm>
            <a:off x="408972" y="497712"/>
            <a:ext cx="11374055" cy="69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39F224-0DEF-2FCC-BD2C-2424628FCC19}"/>
              </a:ext>
            </a:extLst>
          </p:cNvPr>
          <p:cNvSpPr/>
          <p:nvPr/>
        </p:nvSpPr>
        <p:spPr>
          <a:xfrm>
            <a:off x="8939027" y="497711"/>
            <a:ext cx="2844000" cy="694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49869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6EFAE69-ADB6-E6B1-7446-56A15D3B6103}"/>
              </a:ext>
            </a:extLst>
          </p:cNvPr>
          <p:cNvSpPr/>
          <p:nvPr/>
        </p:nvSpPr>
        <p:spPr>
          <a:xfrm>
            <a:off x="1796005" y="2062223"/>
            <a:ext cx="5891514" cy="185196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C12C98C-52C0-CFB1-0D0F-9B452EF0222D}"/>
              </a:ext>
            </a:extLst>
          </p:cNvPr>
          <p:cNvSpPr/>
          <p:nvPr/>
        </p:nvSpPr>
        <p:spPr>
          <a:xfrm>
            <a:off x="1784430" y="2062223"/>
            <a:ext cx="1962000" cy="18519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7AF875-783A-BC68-FB36-512F7A1DA074}"/>
              </a:ext>
            </a:extLst>
          </p:cNvPr>
          <p:cNvSpPr txBox="1"/>
          <p:nvPr/>
        </p:nvSpPr>
        <p:spPr>
          <a:xfrm>
            <a:off x="2614587" y="1597306"/>
            <a:ext cx="314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68521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6EFAE69-ADB6-E6B1-7446-56A15D3B6103}"/>
              </a:ext>
            </a:extLst>
          </p:cNvPr>
          <p:cNvSpPr/>
          <p:nvPr/>
        </p:nvSpPr>
        <p:spPr>
          <a:xfrm>
            <a:off x="1796005" y="2062223"/>
            <a:ext cx="5891514" cy="185196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C12C98C-52C0-CFB1-0D0F-9B452EF0222D}"/>
              </a:ext>
            </a:extLst>
          </p:cNvPr>
          <p:cNvSpPr/>
          <p:nvPr/>
        </p:nvSpPr>
        <p:spPr>
          <a:xfrm>
            <a:off x="3760762" y="2062223"/>
            <a:ext cx="1962000" cy="18519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6C1974-AF0B-CAAA-775B-EA8F6C7B60E8}"/>
              </a:ext>
            </a:extLst>
          </p:cNvPr>
          <p:cNvSpPr txBox="1"/>
          <p:nvPr/>
        </p:nvSpPr>
        <p:spPr>
          <a:xfrm>
            <a:off x="4590919" y="1597306"/>
            <a:ext cx="314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054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6EFAE69-ADB6-E6B1-7446-56A15D3B6103}"/>
              </a:ext>
            </a:extLst>
          </p:cNvPr>
          <p:cNvSpPr/>
          <p:nvPr/>
        </p:nvSpPr>
        <p:spPr>
          <a:xfrm>
            <a:off x="1796005" y="2062223"/>
            <a:ext cx="5891514" cy="185196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C12C98C-52C0-CFB1-0D0F-9B452EF0222D}"/>
              </a:ext>
            </a:extLst>
          </p:cNvPr>
          <p:cNvSpPr/>
          <p:nvPr/>
        </p:nvSpPr>
        <p:spPr>
          <a:xfrm>
            <a:off x="5737094" y="2062223"/>
            <a:ext cx="1962000" cy="18519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3BACBD-58D9-B203-6BA5-70A0C0E6D12C}"/>
              </a:ext>
            </a:extLst>
          </p:cNvPr>
          <p:cNvSpPr txBox="1"/>
          <p:nvPr/>
        </p:nvSpPr>
        <p:spPr>
          <a:xfrm>
            <a:off x="6567251" y="1597306"/>
            <a:ext cx="314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3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00497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C39888-4E6A-890D-075C-A281D402D73F}"/>
              </a:ext>
            </a:extLst>
          </p:cNvPr>
          <p:cNvSpPr/>
          <p:nvPr/>
        </p:nvSpPr>
        <p:spPr>
          <a:xfrm>
            <a:off x="408972" y="497712"/>
            <a:ext cx="11374055" cy="694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68749FD-31D5-D669-168E-468F24B8C115}"/>
              </a:ext>
            </a:extLst>
          </p:cNvPr>
          <p:cNvSpPr/>
          <p:nvPr/>
        </p:nvSpPr>
        <p:spPr>
          <a:xfrm>
            <a:off x="408972" y="497713"/>
            <a:ext cx="2844000" cy="6944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FEDCFC-5969-72FF-3E87-0E2E8ADCC641}"/>
              </a:ext>
            </a:extLst>
          </p:cNvPr>
          <p:cNvSpPr txBox="1"/>
          <p:nvPr/>
        </p:nvSpPr>
        <p:spPr>
          <a:xfrm>
            <a:off x="1347506" y="567159"/>
            <a:ext cx="9669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1" i="0" u="none" strike="noStrike" kern="1200" cap="none" spc="0" normalizeH="0" baseline="0" noProof="0" dirty="0">
                <a:ln>
                  <a:noFill/>
                </a:ln>
                <a:solidFill>
                  <a:srgbClr val="B8D1D1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1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srgbClr val="B8D1D1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96204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C39888-4E6A-890D-075C-A281D402D73F}"/>
              </a:ext>
            </a:extLst>
          </p:cNvPr>
          <p:cNvSpPr/>
          <p:nvPr/>
        </p:nvSpPr>
        <p:spPr>
          <a:xfrm>
            <a:off x="408972" y="497712"/>
            <a:ext cx="11374055" cy="694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9835BA0-B032-3232-C6A8-EF75D4725F75}"/>
              </a:ext>
            </a:extLst>
          </p:cNvPr>
          <p:cNvSpPr/>
          <p:nvPr/>
        </p:nvSpPr>
        <p:spPr>
          <a:xfrm>
            <a:off x="3252972" y="497711"/>
            <a:ext cx="2844000" cy="6944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E43A68-A99C-EBA8-92A5-776B689C7AD3}"/>
              </a:ext>
            </a:extLst>
          </p:cNvPr>
          <p:cNvSpPr txBox="1"/>
          <p:nvPr/>
        </p:nvSpPr>
        <p:spPr>
          <a:xfrm>
            <a:off x="4272528" y="567159"/>
            <a:ext cx="9701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1" i="0" u="none" strike="noStrike" kern="1200" cap="none" spc="0" normalizeH="0" baseline="0" noProof="0" dirty="0">
                <a:ln>
                  <a:noFill/>
                </a:ln>
                <a:solidFill>
                  <a:srgbClr val="B8D1D1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2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srgbClr val="B8D1D1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14826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C39888-4E6A-890D-075C-A281D402D73F}"/>
              </a:ext>
            </a:extLst>
          </p:cNvPr>
          <p:cNvSpPr/>
          <p:nvPr/>
        </p:nvSpPr>
        <p:spPr>
          <a:xfrm>
            <a:off x="408972" y="497712"/>
            <a:ext cx="11374055" cy="694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A39F224-0DEF-2FCC-BD2C-2424628FCC19}"/>
              </a:ext>
            </a:extLst>
          </p:cNvPr>
          <p:cNvSpPr/>
          <p:nvPr/>
        </p:nvSpPr>
        <p:spPr>
          <a:xfrm>
            <a:off x="6096972" y="497711"/>
            <a:ext cx="2844000" cy="6944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D7B790-8AFB-1533-872A-E4CEADF01593}"/>
              </a:ext>
            </a:extLst>
          </p:cNvPr>
          <p:cNvSpPr txBox="1"/>
          <p:nvPr/>
        </p:nvSpPr>
        <p:spPr>
          <a:xfrm>
            <a:off x="7033903" y="567159"/>
            <a:ext cx="9701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1" i="0" u="none" strike="noStrike" kern="1200" cap="none" spc="0" normalizeH="0" baseline="0" noProof="0" dirty="0">
                <a:ln>
                  <a:noFill/>
                </a:ln>
                <a:solidFill>
                  <a:srgbClr val="B8D1D1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3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srgbClr val="B8D1D1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75965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C39888-4E6A-890D-075C-A281D402D73F}"/>
              </a:ext>
            </a:extLst>
          </p:cNvPr>
          <p:cNvSpPr/>
          <p:nvPr/>
        </p:nvSpPr>
        <p:spPr>
          <a:xfrm>
            <a:off x="408972" y="497712"/>
            <a:ext cx="11374055" cy="694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39F224-0DEF-2FCC-BD2C-2424628FCC19}"/>
              </a:ext>
            </a:extLst>
          </p:cNvPr>
          <p:cNvSpPr/>
          <p:nvPr/>
        </p:nvSpPr>
        <p:spPr>
          <a:xfrm>
            <a:off x="8939027" y="497711"/>
            <a:ext cx="2844000" cy="6944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184ED9-1752-B290-9606-18D638413929}"/>
              </a:ext>
            </a:extLst>
          </p:cNvPr>
          <p:cNvSpPr txBox="1"/>
          <p:nvPr/>
        </p:nvSpPr>
        <p:spPr>
          <a:xfrm>
            <a:off x="9875958" y="567159"/>
            <a:ext cx="9701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1" i="0" u="none" strike="noStrike" kern="1200" cap="none" spc="0" normalizeH="0" baseline="0" noProof="0" dirty="0">
                <a:ln>
                  <a:noFill/>
                </a:ln>
                <a:solidFill>
                  <a:srgbClr val="B8D1D1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4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srgbClr val="B8D1D1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0375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3FEDCFC-5969-72FF-3E87-0E2E8ADCC641}"/>
              </a:ext>
            </a:extLst>
          </p:cNvPr>
          <p:cNvSpPr txBox="1"/>
          <p:nvPr/>
        </p:nvSpPr>
        <p:spPr>
          <a:xfrm>
            <a:off x="1347506" y="-923332"/>
            <a:ext cx="9669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5400" b="0" i="0" u="none" strike="noStrike" kern="1200" cap="none" spc="0" normalizeH="0" baseline="0" noProof="0" dirty="0">
                <a:ln>
                  <a:noFill/>
                </a:ln>
                <a:solidFill>
                  <a:srgbClr val="217074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01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217074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5" name="Hider">
            <a:extLst>
              <a:ext uri="{FF2B5EF4-FFF2-40B4-BE49-F238E27FC236}">
                <a16:creationId xmlns:a16="http://schemas.microsoft.com/office/drawing/2014/main" id="{F6343F87-D44A-4986-A2E7-2A3A9F3CC9B4}"/>
              </a:ext>
            </a:extLst>
          </p:cNvPr>
          <p:cNvSpPr/>
          <p:nvPr/>
        </p:nvSpPr>
        <p:spPr>
          <a:xfrm>
            <a:off x="0" y="0"/>
            <a:ext cx="12192000" cy="56715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C39888-4E6A-890D-075C-A281D402D73F}"/>
              </a:ext>
            </a:extLst>
          </p:cNvPr>
          <p:cNvSpPr/>
          <p:nvPr/>
        </p:nvSpPr>
        <p:spPr>
          <a:xfrm>
            <a:off x="408972" y="497712"/>
            <a:ext cx="11374055" cy="69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68749FD-31D5-D669-168E-468F24B8C115}"/>
              </a:ext>
            </a:extLst>
          </p:cNvPr>
          <p:cNvSpPr/>
          <p:nvPr/>
        </p:nvSpPr>
        <p:spPr>
          <a:xfrm>
            <a:off x="408972" y="497713"/>
            <a:ext cx="2844000" cy="694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67583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217074"/>
      </a:accent1>
      <a:accent2>
        <a:srgbClr val="37745B"/>
      </a:accent2>
      <a:accent3>
        <a:srgbClr val="8B9D77"/>
      </a:accent3>
      <a:accent4>
        <a:srgbClr val="E7EAEF"/>
      </a:accent4>
      <a:accent5>
        <a:srgbClr val="EDC5AB"/>
      </a:accent5>
      <a:accent6>
        <a:srgbClr val="B8D1D1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5EC4FAED17FD4FA002B715A7CB3129" ma:contentTypeVersion="19" ma:contentTypeDescription="Create a new document." ma:contentTypeScope="" ma:versionID="0f295b4eaac5758ed5fac4959b75d881">
  <xsd:schema xmlns:xsd="http://www.w3.org/2001/XMLSchema" xmlns:xs="http://www.w3.org/2001/XMLSchema" xmlns:p="http://schemas.microsoft.com/office/2006/metadata/properties" xmlns:ns2="92e4be8c-5aca-45ec-8e17-deab1f90d7c8" xmlns:ns3="92b31412-8c8f-44f1-a883-141cef3f34cc" targetNamespace="http://schemas.microsoft.com/office/2006/metadata/properties" ma:root="true" ma:fieldsID="57dd884e41ecc57e715e77a3a1c4b2cc" ns2:_="" ns3:_="">
    <xsd:import namespace="92e4be8c-5aca-45ec-8e17-deab1f90d7c8"/>
    <xsd:import namespace="92b31412-8c8f-44f1-a883-141cef3f34c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Duration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e4be8c-5aca-45ec-8e17-deab1f90d7c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d795d2f5-1cbf-45cb-9409-0dc909a94953}" ma:internalName="TaxCatchAll" ma:showField="CatchAllData" ma:web="92e4be8c-5aca-45ec-8e17-deab1f90d7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b31412-8c8f-44f1-a883-141cef3f34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Duration" ma:index="19" nillable="true" ma:displayName="Duration" ma:internalName="Duration">
      <xsd:simpleType>
        <xsd:restriction base="dms:Text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4206cbd-ed67-49c0-b8a0-af32ee4f26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b31412-8c8f-44f1-a883-141cef3f34cc">
      <Terms xmlns="http://schemas.microsoft.com/office/infopath/2007/PartnerControls"/>
    </lcf76f155ced4ddcb4097134ff3c332f>
    <TaxCatchAll xmlns="92e4be8c-5aca-45ec-8e17-deab1f90d7c8" xsi:nil="true"/>
    <Duration xmlns="92b31412-8c8f-44f1-a883-141cef3f34cc" xsi:nil="true"/>
  </documentManagement>
</p:properties>
</file>

<file path=customXml/itemProps1.xml><?xml version="1.0" encoding="utf-8"?>
<ds:datastoreItem xmlns:ds="http://schemas.openxmlformats.org/officeDocument/2006/customXml" ds:itemID="{95C7D90A-1AEC-4549-993E-4E6C4E317587}"/>
</file>

<file path=customXml/itemProps2.xml><?xml version="1.0" encoding="utf-8"?>
<ds:datastoreItem xmlns:ds="http://schemas.openxmlformats.org/officeDocument/2006/customXml" ds:itemID="{B856F798-D11E-4CDD-A07D-3BEA858783CF}"/>
</file>

<file path=customXml/itemProps3.xml><?xml version="1.0" encoding="utf-8"?>
<ds:datastoreItem xmlns:ds="http://schemas.openxmlformats.org/officeDocument/2006/customXml" ds:itemID="{5CB7438C-45E4-4C9B-AF7E-22D7E5B25DC6}"/>
</file>

<file path=docProps/app.xml><?xml version="1.0" encoding="utf-8"?>
<Properties xmlns="http://schemas.openxmlformats.org/officeDocument/2006/extended-properties" xmlns:vt="http://schemas.openxmlformats.org/officeDocument/2006/docPropsVTypes">
  <TotalTime>37</TotalTime>
  <Words>19</Words>
  <Application>Microsoft Office PowerPoint</Application>
  <PresentationFormat>Widescreen</PresentationFormat>
  <Paragraphs>19</Paragraphs>
  <Slides>1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 Light</vt:lpstr>
      <vt:lpstr>Calibri</vt:lpstr>
      <vt:lpstr>Ubuntu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P</dc:creator>
  <cp:lastModifiedBy>Andrew P</cp:lastModifiedBy>
  <cp:revision>6</cp:revision>
  <dcterms:created xsi:type="dcterms:W3CDTF">2024-01-16T09:50:15Z</dcterms:created>
  <dcterms:modified xsi:type="dcterms:W3CDTF">2024-02-01T07:4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5EC4FAED17FD4FA002B715A7CB3129</vt:lpwstr>
  </property>
</Properties>
</file>